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147470212" r:id="rId3"/>
  </p:sldIdLst>
  <p:sldSz cx="12192000" cy="6858000"/>
  <p:notesSz cx="6858000" cy="9144000"/>
  <p:defaultTextStyle>
    <a:defPPr>
      <a:defRPr lang="bg-BG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" d="100"/>
          <a:sy n="14" d="100"/>
        </p:scale>
        <p:origin x="336" y="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1.xml"/><Relationship Id="rId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9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10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1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12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946C2B-2FC3-B024-FA60-078A30DF52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bg-BG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8B78F8C-DCFF-70E5-09E7-23D478D271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bg-B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805957-523D-615C-C7CC-87451CE247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9CB57-F2B0-44DA-BFA4-3334EFD09CA5}" type="datetimeFigureOut">
              <a:rPr lang="bg-BG" smtClean="0"/>
              <a:t>21.3.2024 г.</a:t>
            </a:fld>
            <a:endParaRPr lang="bg-B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8D898E-1EFA-50BA-AE06-96652F742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631E75-4230-F7BD-922C-053C812F9F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FE49C0-FFD0-4002-B46F-1804ACE07602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9697076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3707C9-E0D6-D194-9967-B2CADBCE33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bg-BG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C7FCCE3-7EA0-197E-DF75-3343B58166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bg-B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47B2A1-D795-1320-BD91-176ABC24F0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9CB57-F2B0-44DA-BFA4-3334EFD09CA5}" type="datetimeFigureOut">
              <a:rPr lang="bg-BG" smtClean="0"/>
              <a:t>21.3.2024 г.</a:t>
            </a:fld>
            <a:endParaRPr lang="bg-B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2566BB-570E-D825-D039-9F7C396DA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335C88-EFF7-E455-3817-4D4409D06B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FE49C0-FFD0-4002-B46F-1804ACE07602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39459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990A737-CCBF-506C-9683-8E566D2BDA6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bg-BG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AFC96C4-7790-E0BF-EFE8-EEB8AB68D8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bg-B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2AD94B-449A-556B-9736-D02EEBFC7E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9CB57-F2B0-44DA-BFA4-3334EFD09CA5}" type="datetimeFigureOut">
              <a:rPr lang="bg-BG" smtClean="0"/>
              <a:t>21.3.2024 г.</a:t>
            </a:fld>
            <a:endParaRPr lang="bg-B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0182BA-E197-C610-1D38-287702415B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F8C1DE-5CFC-2E7B-16CB-57757AB2D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FE49C0-FFD0-4002-B46F-1804ACE07602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3097521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70A3CAD-6999-8848-92A5-B02A4C5F2FE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1915F4-B8A1-F747-84F8-C0A9E23EA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AF1B9CF-7070-3E45-A8F8-B49FDF1700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F86775-9BAC-8C4A-B0F3-6CCEF30561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974426A-8BB2-2343-9F2B-54B7DD183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4436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gradFill>
          <a:gsLst>
            <a:gs pos="54000">
              <a:srgbClr val="277CBD"/>
            </a:gs>
            <a:gs pos="0">
              <a:srgbClr val="004F9B"/>
            </a:gs>
            <a:gs pos="100000">
              <a:srgbClr val="4EA8D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18566EE-6596-4E4C-80AE-F3AC8BE71E4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1915F4-B8A1-F747-84F8-C0A9E23EA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AF1B9CF-7070-3E45-A8F8-B49FDF1700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F86775-9BAC-8C4A-B0F3-6CCEF30561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974426A-8BB2-2343-9F2B-54B7DD183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652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83439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069" y="501652"/>
            <a:ext cx="10031916" cy="958849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rgbClr val="00629F"/>
                </a:solidFill>
                <a:latin typeface="+mj-lt"/>
              </a:defRPr>
            </a:lvl1pPr>
          </a:lstStyle>
          <a:p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2282174-65D2-744A-B154-E872792C7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5017"/>
            <a:ext cx="10847919" cy="46464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867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6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333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01490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41330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069" y="501652"/>
            <a:ext cx="10031916" cy="958849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rgbClr val="00629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BA8BC5E-E6A4-8645-A260-7CADE8CBCF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72800" y="1615017"/>
            <a:ext cx="5342400" cy="4646083"/>
          </a:xfrm>
        </p:spPr>
        <p:txBody>
          <a:bodyPr lIns="0" tIns="0" rIns="108000" bIns="0"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C02D2E6-100E-1F4B-9A7C-96F5646577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099" y="1615017"/>
            <a:ext cx="5342400" cy="46464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sz="1867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tx1"/>
              </a:buClr>
              <a:defRPr sz="16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tx1"/>
              </a:buClr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 sz="1333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6381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82980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069" y="501652"/>
            <a:ext cx="10031916" cy="95884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200">
                <a:solidFill>
                  <a:srgbClr val="00629F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87567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766469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09914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F14B76D6-1E80-FE45-861E-898D9060FB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507999"/>
            <a:ext cx="10031916" cy="5753419"/>
          </a:xfrm>
        </p:spPr>
        <p:txBody>
          <a:bodyPr lIns="0" tIns="0" rIns="0" bIns="0" anchor="ctr" anchorCtr="0">
            <a:noAutofit/>
          </a:bodyPr>
          <a:lstStyle>
            <a:lvl1pPr marL="8466" indent="-8466">
              <a:lnSpc>
                <a:spcPct val="90000"/>
              </a:lnSpc>
              <a:buClr>
                <a:srgbClr val="00629F"/>
              </a:buClr>
              <a:buNone/>
              <a:tabLst/>
              <a:defRPr sz="4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1009625" indent="-535504">
              <a:lnSpc>
                <a:spcPct val="90000"/>
              </a:lnSpc>
              <a:buClr>
                <a:srgbClr val="00629F"/>
              </a:buClr>
              <a:buNone/>
              <a:tabLst/>
              <a:defRPr sz="5067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1305951" indent="-355591">
              <a:lnSpc>
                <a:spcPct val="90000"/>
              </a:lnSpc>
              <a:buClr>
                <a:srgbClr val="00629F"/>
              </a:buClr>
              <a:buNone/>
              <a:tabLst/>
              <a:defRPr sz="40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722924" indent="-338658">
              <a:lnSpc>
                <a:spcPct val="90000"/>
              </a:lnSpc>
              <a:buClr>
                <a:srgbClr val="00629F"/>
              </a:buClr>
              <a:buNone/>
              <a:tabLst/>
              <a:defRPr sz="3467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4615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video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8386B580-0255-B14B-8CC7-759D3E4E7726}"/>
              </a:ext>
            </a:extLst>
          </p:cNvPr>
          <p:cNvSpPr>
            <a:spLocks noGrp="1"/>
          </p:cNvSpPr>
          <p:nvPr>
            <p:ph type="media" sz="quarter" idx="24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bIns="503999" anchor="ctr"/>
          <a:lstStyle>
            <a:lvl1pPr algn="ctr">
              <a:buNone/>
              <a:defRPr/>
            </a:lvl1pPr>
          </a:lstStyle>
          <a:p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A9D1465-550E-0E4E-B1C9-13DDC9BD1E1F}"/>
              </a:ext>
            </a:extLst>
          </p:cNvPr>
          <p:cNvSpPr txBox="1">
            <a:spLocks/>
          </p:cNvSpPr>
          <p:nvPr userDrawn="1"/>
        </p:nvSpPr>
        <p:spPr>
          <a:xfrm>
            <a:off x="10519520" y="6292801"/>
            <a:ext cx="1418539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F9AEC4-9B91-9248-8223-A4EF9444E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13E90-F8D2-5949-AAA4-3C6C8F4DC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3D8F-4BC0-164F-B136-151A904FB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744798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BA096-6FB0-ECA7-81AF-5FAD7708D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bg-B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C5A088-6A15-5898-C140-54EA8B2BFD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bg-B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DC9784-369E-18B5-4D14-3E9FD3615E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9CB57-F2B0-44DA-BFA4-3334EFD09CA5}" type="datetimeFigureOut">
              <a:rPr lang="bg-BG" smtClean="0"/>
              <a:t>21.3.2024 г.</a:t>
            </a:fld>
            <a:endParaRPr lang="bg-B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9EDE9F-9F19-E197-129F-936F823A4B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9C8270-80AB-06BB-50CF-592FF0A6C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FE49C0-FFD0-4002-B46F-1804ACE07602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5699425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1500 x 843 px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F9AEC4-9B91-9248-8223-A4EF9444E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13E90-F8D2-5949-AAA4-3C6C8F4DC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3D8F-4BC0-164F-B136-151A904FB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4680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2FBD5542-7C18-554E-8C38-9C18824A0F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38348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overlay left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39827" y="0"/>
            <a:ext cx="7852172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</a:t>
            </a:r>
            <a:r>
              <a:rPr lang="en-US" b="0" i="0" noProof="0">
                <a:solidFill>
                  <a:srgbClr val="1A1A1A"/>
                </a:solidFill>
                <a:effectLst/>
                <a:latin typeface="OpenSans"/>
              </a:rPr>
              <a:t>966 x 843 px</a:t>
            </a:r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10519329" y="6292801"/>
            <a:ext cx="1419417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74F6BD1-05E3-0748-8229-5BFCF37D21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C7E7A55-842A-944F-B105-E98E505B498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504000"/>
            <a:ext cx="3503084" cy="5760000"/>
          </a:xfrm>
        </p:spPr>
        <p:txBody>
          <a:bodyPr lIns="0" tIns="0" rIns="0" bIns="0" anchor="ctr" anchorCtr="0">
            <a:noAutofit/>
          </a:bodyPr>
          <a:lstStyle>
            <a:lvl1pPr marL="8466" indent="-8466">
              <a:lnSpc>
                <a:spcPct val="90000"/>
              </a:lnSpc>
              <a:buClr>
                <a:srgbClr val="00629F"/>
              </a:buClr>
              <a:buNone/>
              <a:tabLst/>
              <a:defRPr sz="3733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891095" indent="-416974">
              <a:lnSpc>
                <a:spcPct val="90000"/>
              </a:lnSpc>
              <a:buClr>
                <a:srgbClr val="00629F"/>
              </a:buClr>
              <a:buNone/>
              <a:tabLst/>
              <a:defRPr sz="32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1305951" indent="-355591">
              <a:lnSpc>
                <a:spcPct val="90000"/>
              </a:lnSpc>
              <a:buClr>
                <a:srgbClr val="00629F"/>
              </a:buClr>
              <a:buNone/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722924" indent="-338658">
              <a:lnSpc>
                <a:spcPct val="90000"/>
              </a:lnSpc>
              <a:buClr>
                <a:srgbClr val="00629F"/>
              </a:buClr>
              <a:buNone/>
              <a:tabLst/>
              <a:defRPr sz="2133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103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lef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 anchorCtr="0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FB4E9C5-372D-B54F-AB35-3198E76F9B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6F08260-F124-AB45-A656-0CF6C91D54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2800"/>
            <a:ext cx="3503084" cy="4646400"/>
          </a:xfrm>
          <a:solidFill>
            <a:srgbClr val="00629F"/>
          </a:solidFill>
        </p:spPr>
        <p:txBody>
          <a:bodyPr lIns="108000" tIns="0" rIns="0" bIns="0" anchor="ctr" anchorCtr="0">
            <a:noAutofit/>
          </a:bodyPr>
          <a:lstStyle>
            <a:lvl1pPr marL="8466" indent="-8466">
              <a:lnSpc>
                <a:spcPct val="90000"/>
              </a:lnSpc>
              <a:buClr>
                <a:schemeClr val="bg1"/>
              </a:buClr>
              <a:buNone/>
              <a:tabLst/>
              <a:defRPr sz="3733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891095" indent="-416974">
              <a:lnSpc>
                <a:spcPct val="90000"/>
              </a:lnSpc>
              <a:buClr>
                <a:schemeClr val="bg1"/>
              </a:buClr>
              <a:tabLst/>
              <a:defRPr sz="32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1305951" indent="-355591">
              <a:lnSpc>
                <a:spcPct val="90000"/>
              </a:lnSpc>
              <a:buClr>
                <a:schemeClr val="bg1"/>
              </a:buClr>
              <a:tabLst/>
              <a:defRPr sz="24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722924" indent="-338658">
              <a:lnSpc>
                <a:spcPct val="90000"/>
              </a:lnSpc>
              <a:buClr>
                <a:schemeClr val="bg1"/>
              </a:buClr>
              <a:tabLst/>
              <a:defRPr sz="2133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9165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 anchorCtr="0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81D39-1145-FA4E-B683-513036C3479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E8E77E7-B238-0A4C-BBF8-DDD421A9C0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2800"/>
            <a:ext cx="3503084" cy="4646400"/>
          </a:xfrm>
          <a:solidFill>
            <a:schemeClr val="bg1"/>
          </a:solidFill>
        </p:spPr>
        <p:txBody>
          <a:bodyPr lIns="108000" tIns="0" rIns="0" bIns="0" anchor="ctr" anchorCtr="0">
            <a:noAutofit/>
          </a:bodyPr>
          <a:lstStyle>
            <a:lvl1pPr marL="8466" indent="-8466">
              <a:lnSpc>
                <a:spcPct val="90000"/>
              </a:lnSpc>
              <a:buClr>
                <a:srgbClr val="00629F"/>
              </a:buClr>
              <a:buNone/>
              <a:tabLst/>
              <a:defRPr sz="3733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891095" indent="-416974">
              <a:lnSpc>
                <a:spcPct val="90000"/>
              </a:lnSpc>
              <a:buClr>
                <a:srgbClr val="00629F"/>
              </a:buClr>
              <a:tabLst/>
              <a:defRPr sz="32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1305951" indent="-355591">
              <a:lnSpc>
                <a:spcPct val="90000"/>
              </a:lnSpc>
              <a:buClr>
                <a:srgbClr val="00629F"/>
              </a:buClr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722924" indent="-338658">
              <a:lnSpc>
                <a:spcPct val="90000"/>
              </a:lnSpc>
              <a:buClr>
                <a:srgbClr val="00629F"/>
              </a:buClr>
              <a:tabLst/>
              <a:defRPr sz="2133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3184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righ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CEDFCF-642D-F141-9A43-DB7CB01B36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922B8767-9500-8248-B35C-32B6CDB014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11201" y="1612800"/>
            <a:ext cx="3503084" cy="4646400"/>
          </a:xfrm>
          <a:solidFill>
            <a:srgbClr val="00629F"/>
          </a:solidFill>
        </p:spPr>
        <p:txBody>
          <a:bodyPr lIns="108000" tIns="0" rIns="0" bIns="0" anchor="ctr" anchorCtr="0">
            <a:noAutofit/>
          </a:bodyPr>
          <a:lstStyle>
            <a:lvl1pPr marL="8466" indent="-8466">
              <a:lnSpc>
                <a:spcPct val="90000"/>
              </a:lnSpc>
              <a:buClr>
                <a:schemeClr val="bg1"/>
              </a:buClr>
              <a:buNone/>
              <a:tabLst/>
              <a:defRPr sz="3733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891095" indent="-416974">
              <a:lnSpc>
                <a:spcPct val="90000"/>
              </a:lnSpc>
              <a:buClr>
                <a:schemeClr val="bg1"/>
              </a:buClr>
              <a:buNone/>
              <a:tabLst/>
              <a:defRPr sz="32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1305951" indent="-355591">
              <a:lnSpc>
                <a:spcPct val="90000"/>
              </a:lnSpc>
              <a:buClr>
                <a:schemeClr val="bg1"/>
              </a:buClr>
              <a:tabLst/>
              <a:defRPr sz="24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722924" indent="-338658">
              <a:lnSpc>
                <a:spcPct val="90000"/>
              </a:lnSpc>
              <a:buClr>
                <a:schemeClr val="bg1"/>
              </a:buClr>
              <a:tabLst/>
              <a:defRPr sz="2133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275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E0A4A19-89A9-8948-BDDE-4E2EB8CFE8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86B91CD-B8EC-8C40-A3C6-C3EC4ECDB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11201" y="1612800"/>
            <a:ext cx="3503084" cy="4646400"/>
          </a:xfrm>
          <a:solidFill>
            <a:schemeClr val="bg1"/>
          </a:solidFill>
        </p:spPr>
        <p:txBody>
          <a:bodyPr lIns="108000" tIns="0" rIns="0" bIns="0" anchor="ctr" anchorCtr="0">
            <a:noAutofit/>
          </a:bodyPr>
          <a:lstStyle>
            <a:lvl1pPr marL="8466" indent="-8466">
              <a:lnSpc>
                <a:spcPct val="90000"/>
              </a:lnSpc>
              <a:buClr>
                <a:srgbClr val="00629F"/>
              </a:buClr>
              <a:buNone/>
              <a:tabLst/>
              <a:defRPr sz="3733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891095" indent="-416974">
              <a:lnSpc>
                <a:spcPct val="90000"/>
              </a:lnSpc>
              <a:buClr>
                <a:srgbClr val="00629F"/>
              </a:buClr>
              <a:tabLst/>
              <a:defRPr sz="32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1305951" indent="-355591">
              <a:lnSpc>
                <a:spcPct val="90000"/>
              </a:lnSpc>
              <a:buClr>
                <a:srgbClr val="00629F"/>
              </a:buClr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722924" indent="-338658">
              <a:lnSpc>
                <a:spcPct val="90000"/>
              </a:lnSpc>
              <a:buClr>
                <a:srgbClr val="00629F"/>
              </a:buClr>
              <a:tabLst/>
              <a:defRPr sz="2133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1356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" y="0"/>
            <a:ext cx="6015567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419 x 843 px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61617" y="501651"/>
            <a:ext cx="4542368" cy="1102783"/>
          </a:xfrm>
        </p:spPr>
        <p:txBody>
          <a:bodyPr/>
          <a:lstStyle>
            <a:lvl1pPr>
              <a:defRPr sz="32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</a:t>
            </a:r>
            <a:br>
              <a:rPr lang="en-US" noProof="0"/>
            </a:br>
            <a:r>
              <a:rPr lang="en-US" noProof="0"/>
              <a:t>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61617" y="1615019"/>
            <a:ext cx="5355167" cy="464608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1937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177600" y="0"/>
            <a:ext cx="6014400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419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983" y="501651"/>
            <a:ext cx="5329767" cy="1103999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</a:t>
            </a:r>
            <a:br>
              <a:rPr lang="en-US" noProof="0"/>
            </a:br>
            <a:r>
              <a:rPr lang="en-US" noProof="0"/>
              <a:t>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70983" y="1615019"/>
            <a:ext cx="5329767" cy="464608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917A831-45CE-E541-96F2-3935F3CC6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98993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mall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39828" y="0"/>
            <a:ext cx="7852171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</a:t>
            </a:r>
            <a:r>
              <a:rPr lang="en-US" b="0" i="0" noProof="0">
                <a:solidFill>
                  <a:srgbClr val="1A1A1A"/>
                </a:solidFill>
                <a:effectLst/>
                <a:latin typeface="OpenSans"/>
              </a:rPr>
              <a:t>966 x 843 px</a:t>
            </a:r>
            <a:endParaRPr lang="en-US" noProof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DB076B3-C88A-1849-AD02-099D8151BF1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10519329" y="6292801"/>
            <a:ext cx="1419416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984" y="501653"/>
            <a:ext cx="3505201" cy="1103999"/>
          </a:xfrm>
        </p:spPr>
        <p:txBody>
          <a:bodyPr/>
          <a:lstStyle>
            <a:lvl1pPr>
              <a:defRPr sz="32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</a:t>
            </a:r>
            <a:br>
              <a:rPr lang="en-US" noProof="0"/>
            </a:br>
            <a:r>
              <a:rPr lang="en-US" noProof="0"/>
              <a:t>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70984" y="1615017"/>
            <a:ext cx="3505201" cy="4646083"/>
          </a:xfrm>
        </p:spPr>
        <p:txBody>
          <a:bodyPr/>
          <a:lstStyle>
            <a:lvl5pPr>
              <a:defRPr b="0" i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54098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702219D4-C592-8940-ADFF-E19A71A469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0984" y="1615017"/>
            <a:ext cx="10833600" cy="4646083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defRPr lang="en-NL"/>
            </a:lvl1pPr>
          </a:lstStyle>
          <a:p>
            <a:pPr marL="0" lvl="0" indent="0" algn="ctr">
              <a:buNone/>
            </a:pPr>
            <a:r>
              <a:rPr lang="en-US" noProof="0"/>
              <a:t>Insert picture 1333 x 572 px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C3C2A1-07A7-5B41-8DE2-73B3A2C86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75176-00E7-454C-A1B4-BB08BBCF1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A9FE6-F5F5-754B-9C8F-D2926ACD6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783748B-8051-B04A-A330-D39286CDE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984" y="501652"/>
            <a:ext cx="10033000" cy="958849"/>
          </a:xfrm>
        </p:spPr>
        <p:txBody>
          <a:bodyPr/>
          <a:lstStyle>
            <a:lvl1pPr>
              <a:defRPr sz="32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262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27E0E0-A8E6-2640-A779-BA5B62958B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bg-B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6B822F-3C40-2EA1-6497-9671F379FB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3EF7AC-E865-6D50-E71E-DDD9EA6B37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9CB57-F2B0-44DA-BFA4-3334EFD09CA5}" type="datetimeFigureOut">
              <a:rPr lang="bg-BG" smtClean="0"/>
              <a:t>21.3.2024 г.</a:t>
            </a:fld>
            <a:endParaRPr lang="bg-B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7B5AAB-EAE3-F45D-9673-636EC07E4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92BFCF-8459-F472-1298-94CFE55A6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FE49C0-FFD0-4002-B46F-1804ACE07602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8076822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content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0983" y="1615017"/>
            <a:ext cx="7173383" cy="4646083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icture 882 x 572 px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983" y="501651"/>
            <a:ext cx="10031999" cy="960000"/>
          </a:xfrm>
        </p:spPr>
        <p:txBody>
          <a:bodyPr/>
          <a:lstStyle>
            <a:lvl1pPr>
              <a:defRPr sz="32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09467" y="1615018"/>
            <a:ext cx="3511551" cy="464608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72676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conten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D58B0C-DEF4-9C4E-83F3-91ADA716B2A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37051" y="1615017"/>
            <a:ext cx="7171200" cy="4646083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defRPr lang="en-NL"/>
            </a:lvl1pPr>
          </a:lstStyle>
          <a:p>
            <a:pPr marL="0" lvl="0" indent="0" algn="ctr">
              <a:buNone/>
            </a:pPr>
            <a:r>
              <a:rPr lang="en-US" noProof="0"/>
              <a:t>Insert picture 882 x 572 px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983" y="501651"/>
            <a:ext cx="10031999" cy="960000"/>
          </a:xfrm>
        </p:spPr>
        <p:txBody>
          <a:bodyPr/>
          <a:lstStyle>
            <a:lvl1pPr>
              <a:defRPr sz="32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70985" y="1615018"/>
            <a:ext cx="3505200" cy="464608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8706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396CD-AD2C-4C47-BD26-1A8BF8500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984" y="501652"/>
            <a:ext cx="10033000" cy="958849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C3C2A1-07A7-5B41-8DE2-73B3A2C86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75176-00E7-454C-A1B4-BB08BBCF1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A9FE6-F5F5-754B-9C8F-D2926ACD6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A8E6095F-3389-2E4D-BCE2-11E746829FB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70537" y="1615018"/>
            <a:ext cx="5337599" cy="3549649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buFontTx/>
              <a:buNone/>
              <a:defRPr lang="en-NL">
                <a:latin typeface="+mn-lt"/>
              </a:defRPr>
            </a:lvl1pPr>
          </a:lstStyle>
          <a:p>
            <a:pPr marL="0" lvl="0" indent="0" algn="ctr">
              <a:buNone/>
            </a:pPr>
            <a:r>
              <a:rPr lang="en-US" noProof="0"/>
              <a:t>Insert picture 657 x 437 px 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6339CC5C-F22B-304D-A447-6670052130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7600" y="1615018"/>
            <a:ext cx="5339184" cy="3549649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marR="0" indent="0" algn="ctr" defTabSz="12191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lang="en-NL"/>
            </a:lvl1pPr>
          </a:lstStyle>
          <a:p>
            <a:pPr marL="0" marR="0" lvl="0" indent="0" algn="ctr" defTabSz="12191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Insert picture 657 x 437 px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6D2172C-34C6-364E-BF0F-059D58EB956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70535" y="5164801"/>
            <a:ext cx="5328000" cy="1094399"/>
          </a:xfrm>
        </p:spPr>
        <p:txBody>
          <a:bodyPr lIns="0" tIns="108000" rIns="90000" bIns="0" numCol="1" spcCol="270000">
            <a:noAutofit/>
          </a:bodyPr>
          <a:lstStyle>
            <a:lvl1pPr>
              <a:lnSpc>
                <a:spcPct val="100000"/>
              </a:lnSpc>
              <a:defRPr sz="16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467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333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4430373-7B1A-A941-AC6D-93D4F8DFD56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77600" y="5164801"/>
            <a:ext cx="5328000" cy="1094399"/>
          </a:xfrm>
        </p:spPr>
        <p:txBody>
          <a:bodyPr lIns="0" tIns="108000" rIns="90000" bIns="0" numCol="1" spcCol="270000">
            <a:noAutofit/>
          </a:bodyPr>
          <a:lstStyle>
            <a:lvl1pPr>
              <a:lnSpc>
                <a:spcPct val="100000"/>
              </a:lnSpc>
              <a:defRPr sz="16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467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333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44497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6080312F-DC21-814A-BAB8-040151BB50ED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73102" y="6512606"/>
            <a:ext cx="958356" cy="1439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C96B7945-F4F7-DE48-B97F-38E596BA46D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597425" y="6512606"/>
            <a:ext cx="5213535" cy="1439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32A57064-1C6C-D845-B014-09A3E682B6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242827" y="6485813"/>
            <a:ext cx="266631" cy="2002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B04BB31-3751-EE42-AD85-15C18A98058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2E323967-404E-AB4C-AC4D-0CDC89DC553E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50021F8C-4E5C-3D45-BF5D-F2AF9BAC1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507999"/>
            <a:ext cx="10031916" cy="5753419"/>
          </a:xfrm>
        </p:spPr>
        <p:txBody>
          <a:bodyPr lIns="0" tIns="0" rIns="0" bIns="0" anchor="ctr" anchorCtr="0">
            <a:noAutofit/>
          </a:bodyPr>
          <a:lstStyle>
            <a:lvl1pPr marL="8466" indent="-8466">
              <a:lnSpc>
                <a:spcPct val="100000"/>
              </a:lnSpc>
              <a:buClr>
                <a:schemeClr val="bg1"/>
              </a:buClr>
              <a:buNone/>
              <a:tabLst/>
              <a:defRPr sz="4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1009625" indent="-535504">
              <a:lnSpc>
                <a:spcPct val="100000"/>
              </a:lnSpc>
              <a:buClr>
                <a:schemeClr val="bg1"/>
              </a:buClr>
              <a:tabLst/>
              <a:defRPr sz="5067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1305951" indent="-355591">
              <a:lnSpc>
                <a:spcPct val="100000"/>
              </a:lnSpc>
              <a:buClr>
                <a:schemeClr val="bg1"/>
              </a:buClr>
              <a:tabLst/>
              <a:defRPr sz="4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722924" indent="-338658">
              <a:lnSpc>
                <a:spcPct val="100000"/>
              </a:lnSpc>
              <a:buClr>
                <a:schemeClr val="bg1"/>
              </a:buClr>
              <a:tabLst/>
              <a:defRPr sz="3467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4622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mid-tone blue ">
    <p:bg>
      <p:bgPr>
        <a:gradFill>
          <a:gsLst>
            <a:gs pos="59500">
              <a:srgbClr val="0086C5"/>
            </a:gs>
            <a:gs pos="19000">
              <a:srgbClr val="00629F"/>
            </a:gs>
            <a:gs pos="100000">
              <a:srgbClr val="00A9EB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CF684170-CD15-0644-90DE-14C3E2C95BD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73102" y="6512606"/>
            <a:ext cx="958356" cy="1439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00883EC-6C7C-274C-AE4E-CFD99CA9C6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597425" y="6512606"/>
            <a:ext cx="5213535" cy="1439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792B5FA1-DF99-E442-8EBC-42C77C709B5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242827" y="6485813"/>
            <a:ext cx="266631" cy="2002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2C2815B-2D21-594A-B627-9046569E9A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9F0F0025-6299-A044-A653-6354D5DBB32B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13279F3-F710-B24E-9A7D-299C782C32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507999"/>
            <a:ext cx="10031916" cy="5753419"/>
          </a:xfrm>
        </p:spPr>
        <p:txBody>
          <a:bodyPr lIns="0" tIns="0" rIns="0" bIns="0" anchor="ctr" anchorCtr="0">
            <a:noAutofit/>
          </a:bodyPr>
          <a:lstStyle>
            <a:lvl1pPr marL="8466" indent="-8466">
              <a:lnSpc>
                <a:spcPct val="100000"/>
              </a:lnSpc>
              <a:buClr>
                <a:schemeClr val="bg1"/>
              </a:buClr>
              <a:buNone/>
              <a:tabLst/>
              <a:defRPr sz="4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1009625" indent="-535504">
              <a:lnSpc>
                <a:spcPct val="100000"/>
              </a:lnSpc>
              <a:buClr>
                <a:schemeClr val="bg1"/>
              </a:buClr>
              <a:tabLst/>
              <a:defRPr sz="5067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1305951" indent="-355591">
              <a:lnSpc>
                <a:spcPct val="100000"/>
              </a:lnSpc>
              <a:buClr>
                <a:schemeClr val="bg1"/>
              </a:buClr>
              <a:tabLst/>
              <a:defRPr sz="4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722924" indent="-338658">
              <a:lnSpc>
                <a:spcPct val="100000"/>
              </a:lnSpc>
              <a:buClr>
                <a:schemeClr val="bg1"/>
              </a:buClr>
              <a:tabLst/>
              <a:defRPr sz="3467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737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22435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9023F51-026D-5E46-9A54-3FB9875B6196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9025032-5E65-0840-928E-8CC0B6A814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5017"/>
            <a:ext cx="10847919" cy="46464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867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6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333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40664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449681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DEDCE0C-F84F-1E4A-ACC3-F4EDF4557E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72800" y="1615017"/>
            <a:ext cx="5342400" cy="4646083"/>
          </a:xfrm>
        </p:spPr>
        <p:txBody>
          <a:bodyPr lIns="0" tIns="0" rIns="108000" bIns="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76F0F002-1EDC-2C43-90DE-583DAA8D58CF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0D338944-5F6B-8740-B33F-3797457441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099" y="1615017"/>
            <a:ext cx="5342400" cy="46464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867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6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333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37088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327231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D74535-3265-D64A-81E0-73381FFC4CA3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1940671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blue ">
    <p:bg>
      <p:bgPr>
        <a:solidFill>
          <a:srgbClr val="9AD7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458735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4B1CE47-33D4-D54E-A336-2A5701982D7C}"/>
              </a:ext>
            </a:extLst>
          </p:cNvPr>
          <p:cNvSpPr/>
          <p:nvPr userDrawn="1"/>
        </p:nvSpPr>
        <p:spPr>
          <a:xfrm>
            <a:off x="3695733" y="3429000"/>
            <a:ext cx="4320480" cy="1344149"/>
          </a:xfrm>
          <a:prstGeom prst="rect">
            <a:avLst/>
          </a:prstGeom>
          <a:solidFill>
            <a:srgbClr val="99D6F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F47BF3EC-16CE-A141-8FF7-985EF5BC11AF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5263BCAC-4CA0-974A-9D7E-258AFDAEDB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5017"/>
            <a:ext cx="10847919" cy="46464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867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6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333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87876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qua">
    <p:bg>
      <p:bgPr>
        <a:gradFill>
          <a:gsLst>
            <a:gs pos="65000">
              <a:srgbClr val="007377"/>
            </a:gs>
            <a:gs pos="15000">
              <a:srgbClr val="004B5D"/>
            </a:gs>
            <a:gs pos="100000">
              <a:srgbClr val="009A9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579AC81-C363-A948-A173-2610E0CA6E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1A0CBB6-7602-DE40-B831-5A107B3A2C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8A4F92F-F20F-6F4A-80DE-BF396AB6B1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8785A6D-6D1D-FC43-B2BE-87D984BA45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2FA384E-014D-9B44-93C2-668D70BBA4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365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2B9FF6-50CA-6AB1-570E-6A491C38A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bg-B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6B4DB7-9510-B54D-4B19-110DE09EE1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bg-BG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36A45F-ED8F-18AB-1B25-33FA30E0F3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bg-BG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19DE34-3DBD-EC79-4734-C449F79CE2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9CB57-F2B0-44DA-BFA4-3334EFD09CA5}" type="datetimeFigureOut">
              <a:rPr lang="bg-BG" smtClean="0"/>
              <a:t>21.3.2024 г.</a:t>
            </a:fld>
            <a:endParaRPr lang="bg-B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D2DC6A-F001-1D2F-FC23-D58534F1DC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90660D-EE3B-B19A-036B-8121AF03F2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FE49C0-FFD0-4002-B46F-1804ACE07602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8837812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aqua">
    <p:bg>
      <p:bgPr>
        <a:gradFill>
          <a:gsLst>
            <a:gs pos="65000">
              <a:srgbClr val="007377"/>
            </a:gs>
            <a:gs pos="15000">
              <a:srgbClr val="004B5D"/>
            </a:gs>
            <a:gs pos="100000">
              <a:srgbClr val="009A9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3D2C968-C244-0D49-AD1E-AFCB0A150AE5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9891879-481F-9042-86C3-D097F65751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507999"/>
            <a:ext cx="10031916" cy="5753419"/>
          </a:xfrm>
        </p:spPr>
        <p:txBody>
          <a:bodyPr lIns="0" tIns="0" rIns="0" bIns="0" anchor="ctr" anchorCtr="0">
            <a:noAutofit/>
          </a:bodyPr>
          <a:lstStyle>
            <a:lvl1pPr marL="8466" indent="-8466">
              <a:lnSpc>
                <a:spcPct val="100000"/>
              </a:lnSpc>
              <a:buClr>
                <a:schemeClr val="bg1"/>
              </a:buClr>
              <a:buNone/>
              <a:tabLst/>
              <a:defRPr sz="4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1009625" indent="-535504">
              <a:lnSpc>
                <a:spcPct val="100000"/>
              </a:lnSpc>
              <a:buClr>
                <a:schemeClr val="bg1"/>
              </a:buClr>
              <a:tabLst/>
              <a:defRPr sz="5067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1305951" indent="-355591">
              <a:lnSpc>
                <a:spcPct val="100000"/>
              </a:lnSpc>
              <a:buClr>
                <a:schemeClr val="bg1"/>
              </a:buClr>
              <a:tabLst/>
              <a:defRPr sz="4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722924" indent="-338658">
              <a:lnSpc>
                <a:spcPct val="100000"/>
              </a:lnSpc>
              <a:buClr>
                <a:schemeClr val="bg1"/>
              </a:buClr>
              <a:tabLst/>
              <a:defRPr sz="3467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7745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4A82FD8-C123-6C4B-8DBE-9837122C55EC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5AC5C26-E5A8-3C47-93EB-265662C7AB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5017"/>
            <a:ext cx="10847919" cy="46464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867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6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333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78940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BAEF666-6359-5147-A05F-BA3CE32B16B7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F82B835-5158-3F45-A2C4-061F625ECB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72800" y="1615017"/>
            <a:ext cx="5342400" cy="4646083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C4E03471-5FE6-D74B-9540-92B9C4D01D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099" y="1615017"/>
            <a:ext cx="5342400" cy="46464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867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6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333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8084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15E7E6A-5494-3142-B269-7544F9FE7C86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419643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aqua ">
    <p:bg>
      <p:bgPr>
        <a:solidFill>
          <a:srgbClr val="7EDD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F811A9D1-DBF1-C14E-991F-72D578D7466F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D900186-F920-6143-855B-886099E8AD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5017"/>
            <a:ext cx="10847919" cy="46464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867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6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333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29985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gradFill>
          <a:gsLst>
            <a:gs pos="67000">
              <a:srgbClr val="006635"/>
            </a:gs>
            <a:gs pos="17000">
              <a:srgbClr val="004631"/>
            </a:gs>
            <a:gs pos="100000">
              <a:srgbClr val="008538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5BBF4A6-8DDC-2E4C-96CF-51EBD1E6D01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FB8A8EB-436C-6845-86B7-D6FDC99FC0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AE0E691-8886-0E40-9EA4-B3F26CBD07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D863537-6FEA-BE40-BF38-7FB3EB702F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128E57D-867F-FB4E-9580-AC8A24BC5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7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reen">
    <p:bg>
      <p:bgPr>
        <a:gradFill>
          <a:gsLst>
            <a:gs pos="67000">
              <a:srgbClr val="006635"/>
            </a:gs>
            <a:gs pos="17000">
              <a:srgbClr val="004631"/>
            </a:gs>
            <a:gs pos="100000">
              <a:srgbClr val="008538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3029DE3-64CC-1E40-9F25-0CCA08B61EAE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4CEB893-B518-6041-B6CB-4CBC6971C4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507999"/>
            <a:ext cx="10031916" cy="5753419"/>
          </a:xfrm>
        </p:spPr>
        <p:txBody>
          <a:bodyPr lIns="0" tIns="0" rIns="0" bIns="0" anchor="ctr" anchorCtr="0">
            <a:noAutofit/>
          </a:bodyPr>
          <a:lstStyle>
            <a:lvl1pPr marL="8466" indent="-8466">
              <a:lnSpc>
                <a:spcPct val="100000"/>
              </a:lnSpc>
              <a:buClr>
                <a:schemeClr val="bg1"/>
              </a:buClr>
              <a:buNone/>
              <a:tabLst/>
              <a:defRPr sz="4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1009625" indent="-535504">
              <a:lnSpc>
                <a:spcPct val="100000"/>
              </a:lnSpc>
              <a:buClr>
                <a:schemeClr val="bg1"/>
              </a:buClr>
              <a:tabLst/>
              <a:defRPr sz="5067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1305951" indent="-355591">
              <a:lnSpc>
                <a:spcPct val="100000"/>
              </a:lnSpc>
              <a:buClr>
                <a:schemeClr val="bg1"/>
              </a:buClr>
              <a:tabLst/>
              <a:defRPr sz="4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722924" indent="-338658">
              <a:lnSpc>
                <a:spcPct val="100000"/>
              </a:lnSpc>
              <a:buClr>
                <a:schemeClr val="bg1"/>
              </a:buClr>
              <a:tabLst/>
              <a:defRPr sz="3467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7757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C915394F-6FD1-B44A-8BC5-25A08530D6BE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115E60C-9A7F-7F49-933E-B7F92FC68E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5017"/>
            <a:ext cx="10847919" cy="46464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867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6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333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45075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72800" y="1615017"/>
            <a:ext cx="5342400" cy="4646083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2B1E0AD-84FA-5242-9A46-D758468C9A8B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E0D12D96-2291-5F4D-BBAF-D4B2125B99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099" y="1615017"/>
            <a:ext cx="5342400" cy="46464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867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6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333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70781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EDD577C-F99F-FA4F-9FB5-A0C6AA0A7B9B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2111625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CF4234-85C7-A78E-EBC3-1D7D93771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bg-B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180D25-F935-3652-1D26-D5CB73422C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19F887-C7A4-7DB1-2289-B38353B528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bg-BG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7A9469-757C-665B-5785-9C09765C23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DB1A182-B3DB-22D1-D451-517F0FC073A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bg-BG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DEFDA23-F5F0-FBA8-F7DF-CBC2B54EDF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9CB57-F2B0-44DA-BFA4-3334EFD09CA5}" type="datetimeFigureOut">
              <a:rPr lang="bg-BG" smtClean="0"/>
              <a:t>21.3.2024 г.</a:t>
            </a:fld>
            <a:endParaRPr lang="bg-BG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07AA4E-4DDC-C52D-E4D4-78D40F6B1C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853D763-FA9B-8825-0E3E-BFC2448C07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FE49C0-FFD0-4002-B46F-1804ACE07602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07401447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green ">
    <p:bg>
      <p:bgPr>
        <a:solidFill>
          <a:srgbClr val="A0DA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57255F6-8C21-744F-8D92-C06DDC109BEC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3C389B14-2D49-EE42-981F-30A66F75FB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5017"/>
            <a:ext cx="10847919" cy="46464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867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6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333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72089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range">
    <p:bg>
      <p:bgPr>
        <a:gradFill>
          <a:gsLst>
            <a:gs pos="70000">
              <a:srgbClr val="CC5B21"/>
            </a:gs>
            <a:gs pos="10000">
              <a:srgbClr val="AA3526"/>
            </a:gs>
            <a:gs pos="100000">
              <a:srgbClr val="EE801C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8AE024E-D1DE-C94C-9CD8-854D4BCAA9B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908D519-DB29-5745-B29A-73745ED259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7EDB387-9FED-7D4A-9D4B-F0FEF66D69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CE77903-9A5C-CD4A-BFFA-94D952A945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C1FB469-169F-6145-9457-2AD3FA7D03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89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orange">
    <p:bg>
      <p:bgPr>
        <a:gradFill>
          <a:gsLst>
            <a:gs pos="70000">
              <a:srgbClr val="CC5B21"/>
            </a:gs>
            <a:gs pos="10000">
              <a:srgbClr val="AA3526"/>
            </a:gs>
            <a:gs pos="100000">
              <a:srgbClr val="EE801C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FA0C0B3-F2D9-E64F-8BD1-FB651108C6EE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AB368F29-A0F3-CB41-8BE8-8BBB19E488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507999"/>
            <a:ext cx="10031916" cy="5753419"/>
          </a:xfrm>
        </p:spPr>
        <p:txBody>
          <a:bodyPr lIns="0" tIns="0" rIns="0" bIns="0" anchor="ctr" anchorCtr="0">
            <a:noAutofit/>
          </a:bodyPr>
          <a:lstStyle>
            <a:lvl1pPr marL="8466" indent="-8466">
              <a:lnSpc>
                <a:spcPct val="100000"/>
              </a:lnSpc>
              <a:buClr>
                <a:schemeClr val="bg1"/>
              </a:buClr>
              <a:buNone/>
              <a:tabLst/>
              <a:defRPr sz="4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1009625" indent="-535504">
              <a:lnSpc>
                <a:spcPct val="100000"/>
              </a:lnSpc>
              <a:buClr>
                <a:schemeClr val="bg1"/>
              </a:buClr>
              <a:tabLst/>
              <a:defRPr sz="5067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1305951" indent="-355591">
              <a:lnSpc>
                <a:spcPct val="100000"/>
              </a:lnSpc>
              <a:buClr>
                <a:schemeClr val="bg1"/>
              </a:buClr>
              <a:tabLst/>
              <a:defRPr sz="4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722924" indent="-338658">
              <a:lnSpc>
                <a:spcPct val="100000"/>
              </a:lnSpc>
              <a:buClr>
                <a:schemeClr val="bg1"/>
              </a:buClr>
              <a:tabLst/>
              <a:defRPr sz="3467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7385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EB9AEEA-C1D8-F744-818F-1B46877C98D0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BD88AF71-7FE9-C34C-BA7E-DCB2552480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5017"/>
            <a:ext cx="10847919" cy="46464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867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6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333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29521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72800" y="1615017"/>
            <a:ext cx="5342400" cy="4646083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0604DC70-6B27-494D-96E0-FD89F9EE6A39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B597171-0B66-7940-8E37-08BEE9007F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099" y="1615017"/>
            <a:ext cx="5342400" cy="46464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867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6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333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28758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orange">
    <p:bg>
      <p:bgPr>
        <a:solidFill>
          <a:srgbClr val="DE7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46D74D1-4655-1543-8CF6-6BF7823C4521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117031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orange ">
    <p:bg>
      <p:bgPr>
        <a:solidFill>
          <a:srgbClr val="FDD3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C94CFF-D91A-4F41-8BA6-E95F1752CCD8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0FFAD38-CDC2-B446-A69B-6AE99B7F17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5017"/>
            <a:ext cx="10847919" cy="46464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867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6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333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2024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agenta">
    <p:bg>
      <p:bgPr>
        <a:gradFill>
          <a:gsLst>
            <a:gs pos="64000">
              <a:srgbClr val="B90C62"/>
            </a:gs>
            <a:gs pos="13000">
              <a:srgbClr val="7F184A"/>
            </a:gs>
            <a:gs pos="100000">
              <a:srgbClr val="F3007A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2A7186A-964A-EB4F-9789-044D19D95B0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127F79B-1E65-DD48-B267-7AFEB6BBE2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20A9773-912D-6D4A-A0AE-90D94C6C65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340A695-565C-C043-A4B4-C207135F1A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239C626-9C15-2643-A855-1774CFA000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4646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magenta">
    <p:bg>
      <p:bgPr>
        <a:gradFill>
          <a:gsLst>
            <a:gs pos="64000">
              <a:srgbClr val="B90C62"/>
            </a:gs>
            <a:gs pos="13000">
              <a:srgbClr val="7F184A"/>
            </a:gs>
            <a:gs pos="100000">
              <a:srgbClr val="F3007A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D31B981-DD0B-5D4C-8417-F2DDB9BFD56A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D286636-2880-ED4E-BBAA-D8B224CAD9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507999"/>
            <a:ext cx="10031916" cy="5753419"/>
          </a:xfrm>
        </p:spPr>
        <p:txBody>
          <a:bodyPr lIns="0" tIns="0" rIns="0" bIns="0" anchor="ctr" anchorCtr="0">
            <a:noAutofit/>
          </a:bodyPr>
          <a:lstStyle>
            <a:lvl1pPr marL="8466" indent="-8466">
              <a:lnSpc>
                <a:spcPct val="100000"/>
              </a:lnSpc>
              <a:buClr>
                <a:schemeClr val="bg1"/>
              </a:buClr>
              <a:buNone/>
              <a:tabLst/>
              <a:defRPr sz="4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1009625" indent="-535504">
              <a:lnSpc>
                <a:spcPct val="100000"/>
              </a:lnSpc>
              <a:buClr>
                <a:schemeClr val="bg1"/>
              </a:buClr>
              <a:tabLst/>
              <a:defRPr sz="5067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1305951" indent="-355591">
              <a:lnSpc>
                <a:spcPct val="100000"/>
              </a:lnSpc>
              <a:buClr>
                <a:schemeClr val="bg1"/>
              </a:buClr>
              <a:tabLst/>
              <a:defRPr sz="4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722924" indent="-338658">
              <a:lnSpc>
                <a:spcPct val="100000"/>
              </a:lnSpc>
              <a:buClr>
                <a:schemeClr val="bg1"/>
              </a:buClr>
              <a:tabLst/>
              <a:defRPr sz="3467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5134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E1BA89A-E5A3-F641-B25E-4A8111969303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01DB0F5-C84F-CC4F-AF5C-9DB1CBA157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5017"/>
            <a:ext cx="10847919" cy="46464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867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6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333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87351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C18B9E-9EDA-0FFB-6CE8-753E5D4CE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bg-B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27B83F5-5FAB-2768-A21F-AB1ADC7BEC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9CB57-F2B0-44DA-BFA4-3334EFD09CA5}" type="datetimeFigureOut">
              <a:rPr lang="bg-BG" smtClean="0"/>
              <a:t>21.3.2024 г.</a:t>
            </a:fld>
            <a:endParaRPr lang="bg-B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E852C5-3FF3-4CE8-8F05-6AE13EF97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EEFAD1-476A-7126-CD46-EF0A2470F6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FE49C0-FFD0-4002-B46F-1804ACE07602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646455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72800" y="1615017"/>
            <a:ext cx="5342400" cy="4646083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8C348877-476A-6B4C-A12D-64D2709CD87F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9AFBC0C-67B5-B845-B0A6-CCF7CFE846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099" y="1615017"/>
            <a:ext cx="5342400" cy="46464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867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6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333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18398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E7A9680-8254-064D-82E7-A42090B7D70A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1439487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magenta ">
    <p:bg>
      <p:bgPr>
        <a:solidFill>
          <a:srgbClr val="EABE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232576B3-A440-3948-B537-27709157EB01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B673564-5C8F-924B-865D-42FDB77924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5017"/>
            <a:ext cx="10847919" cy="46464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867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6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333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34674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urple">
    <p:bg>
      <p:bgPr>
        <a:gradFill>
          <a:gsLst>
            <a:gs pos="68000">
              <a:srgbClr val="6D258C"/>
            </a:gs>
            <a:gs pos="13000">
              <a:srgbClr val="450659"/>
            </a:gs>
            <a:gs pos="100000">
              <a:srgbClr val="9443B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BB80A2C-1391-9F42-89CA-3283D012270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725152D-96F4-C548-8A29-98FC765774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FA72A02-B72F-AA46-A1B9-972C4E4911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E3F0DA-D8A1-4C4E-B6E8-DA8D240EF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CDE3264-E045-0641-A1A3-A1E80BC0E4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6482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urple">
    <p:bg>
      <p:bgPr>
        <a:gradFill>
          <a:gsLst>
            <a:gs pos="68000">
              <a:srgbClr val="6D258C"/>
            </a:gs>
            <a:gs pos="13000">
              <a:srgbClr val="450659"/>
            </a:gs>
            <a:gs pos="100000">
              <a:srgbClr val="9443B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CAD6624-CFD3-DE4F-9CE8-5EA1C453A873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F89A81F-5DBF-634D-A753-E2383D9012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507999"/>
            <a:ext cx="10031916" cy="5753419"/>
          </a:xfrm>
        </p:spPr>
        <p:txBody>
          <a:bodyPr lIns="0" tIns="0" rIns="0" bIns="0" anchor="ctr" anchorCtr="0">
            <a:noAutofit/>
          </a:bodyPr>
          <a:lstStyle>
            <a:lvl1pPr marL="8466" indent="-8466">
              <a:lnSpc>
                <a:spcPct val="100000"/>
              </a:lnSpc>
              <a:buClr>
                <a:schemeClr val="bg1"/>
              </a:buClr>
              <a:buNone/>
              <a:tabLst/>
              <a:defRPr sz="4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1009625" indent="-535504">
              <a:lnSpc>
                <a:spcPct val="100000"/>
              </a:lnSpc>
              <a:buClr>
                <a:schemeClr val="bg1"/>
              </a:buClr>
              <a:tabLst/>
              <a:defRPr sz="5067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1305951" indent="-355591">
              <a:lnSpc>
                <a:spcPct val="100000"/>
              </a:lnSpc>
              <a:buClr>
                <a:schemeClr val="bg1"/>
              </a:buClr>
              <a:tabLst/>
              <a:defRPr sz="4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722924" indent="-338658">
              <a:lnSpc>
                <a:spcPct val="100000"/>
              </a:lnSpc>
              <a:buClr>
                <a:schemeClr val="bg1"/>
              </a:buClr>
              <a:tabLst/>
              <a:defRPr sz="3467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1891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purple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5406B4-D089-FF4F-8963-A2FC70C89784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A523F0ED-CB93-DE48-AFB9-A53AD55835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5017"/>
            <a:ext cx="10847919" cy="46464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867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6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333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2008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purple 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72800" y="1615017"/>
            <a:ext cx="5342400" cy="4646083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FBDA501-D362-2A4F-A6ED-4245831FDEAE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43130FA-B170-8448-BE52-8B7BFBDA9E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099" y="1615017"/>
            <a:ext cx="5342400" cy="46464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867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6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333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37948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purple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D822C79-3554-5A4B-9209-FC2B5267AA88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3313729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purple">
    <p:bg>
      <p:bgPr>
        <a:solidFill>
          <a:srgbClr val="C1A0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7"/>
            <a:ext cx="10031916" cy="9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431FD78-9D96-9849-AB18-46CC54BF0B00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7567609-5959-4141-B4DA-A1F5F678EF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5017"/>
            <a:ext cx="10847919" cy="46464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867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6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333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79517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3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50CE0E-F179-458C-AEB1-36BDA9AF4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37817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50CE0E-F179-458C-AEB1-36BDA9AF4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FE540E8-853F-49F5-AAA0-593FDDFCB4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4C2BE2D-951F-4D2E-A248-5E79BA206E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me period, data scenari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441B2E9-68F4-4A38-9D55-0A18643918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058F3F5-669F-4BEE-968A-F64356A6CD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ontent, unit measurement</a:t>
            </a:r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C4A983AC-6F9B-471B-87E8-D4505A31FE4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A0FB69-E866-4F1C-87F8-ADA6A511DB1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25942" y="1264357"/>
            <a:ext cx="11940119" cy="503484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A3B99A-F127-9346-BD1E-5E71BD5CE196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A0BD20F-1F50-6A4D-99F6-9DA774AC2A4E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C5230213-6661-3D4D-8989-3D83676989A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25144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665AE6-E1C5-D4A8-05E2-A2B00E37D9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9CB57-F2B0-44DA-BFA4-3334EFD09CA5}" type="datetimeFigureOut">
              <a:rPr lang="bg-BG" smtClean="0"/>
              <a:t>21.3.2024 г.</a:t>
            </a:fld>
            <a:endParaRPr lang="bg-BG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F35CA2-4EDE-E001-0245-D4ADD0E189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CC1C73-4624-9602-DE20-C5E9BB2BF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FE49C0-FFD0-4002-B46F-1804ACE07602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4424817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4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B418BD-1930-49DC-9A84-0178614669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753278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B418BD-1930-49DC-9A84-017861466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94897C-9089-4E46-A4DC-D9375AE2C9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Unit of measurement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25941" y="680640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eriod, data scenario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&amp;L detail per business</a:t>
            </a:r>
          </a:p>
        </p:txBody>
      </p:sp>
      <p:sp>
        <p:nvSpPr>
          <p:cNvPr id="24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5C9809-688D-4100-A0FE-DB6EB41BC20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164E04-503E-48E0-8056-F4A846A8D60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E3274A-0D5B-4B5E-963A-4AD0C038490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4" name="Straight Connector 17">
            <a:extLst>
              <a:ext uri="{FF2B5EF4-FFF2-40B4-BE49-F238E27FC236}">
                <a16:creationId xmlns:a16="http://schemas.microsoft.com/office/drawing/2014/main" id="{073504F8-A36C-4A96-9962-DBD59D731B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7E0385-9465-469B-9CA7-ABB0EB4E48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25942" y="1264358"/>
            <a:ext cx="11940119" cy="503484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4012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orient="horz" pos="534">
          <p15:clr>
            <a:srgbClr val="FBAE40"/>
          </p15:clr>
        </p15:guide>
        <p15:guide id="3" pos="5697">
          <p15:clr>
            <a:srgbClr val="FBAE40"/>
          </p15:clr>
        </p15:guide>
        <p15:guide id="4" orient="horz" pos="393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C896B7-FACB-4D7B-A4F4-8CE484CBA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675461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C896B7-FACB-4D7B-A4F4-8CE484CBA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ADAA302-4954-4070-845B-E3247AC801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913354F-6E59-49EF-93BE-EAF0DC89F6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7171BA3-E603-4FDD-B59F-EF9A1D5D53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941" y="680640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eriod, data scenario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D21293-C0ED-4019-808D-8F22DD7C37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CDAF2D5-0296-4D0F-805B-B7D7045798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&amp;L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50E6CF-65D4-44D5-BB75-32FC616FF2E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3B535E-80AA-4B5F-B505-6AE4D82B205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779868-A62C-4FF8-88BB-692DFBB3AF3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8CA4B699-1B76-42B1-970D-8B5F927F5D43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6844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no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47BB81-5ED6-4620-B6AB-9F7CAE2CB6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06609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47BB81-5ED6-4620-B6AB-9F7CAE2CB6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4C154A-EDEF-494B-95FD-05C9428083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2B18CF-CA9C-4A69-B7C8-A4C94FF29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6AD015-F4ED-4FC4-A52C-B985B1A9C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E7AFA2-6720-468E-9F40-2499D9FB7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9" name="Straight Connector 17">
            <a:extLst>
              <a:ext uri="{FF2B5EF4-FFF2-40B4-BE49-F238E27FC236}">
                <a16:creationId xmlns:a16="http://schemas.microsoft.com/office/drawing/2014/main" id="{50CCBDD5-A078-4F63-AC4E-A4BB95B75007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4048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73966E-CFE3-49CC-B52A-C5B637544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76664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73966E-CFE3-49CC-B52A-C5B637544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FC3CDD-A9EE-4A29-BDB5-DDD9F2931D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BB6E0D-3F39-440A-BD9D-79E5F24876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5E28750-0E4B-4D33-9132-AD81766D92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941" y="680640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eriod, data scenario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C5D1072-8A57-4985-9114-7AB80099D9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22D0EE4-A772-43CA-87B6-4AAA26C168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&amp;L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82124D-0640-4AE6-AECC-F4880DA1C39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1E07C9-1AA8-427A-8D3F-F90DA800C51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797C04-425D-49F7-8B2B-D4A178C161E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F4A6D036-B440-4848-AD09-10D95A6851E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98D6D76-355E-455E-9573-01D135D9D92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473815" y="1264358"/>
            <a:ext cx="3592245" cy="503484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8327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039C25-38EE-4409-8846-AD3780FDA7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062520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039C25-38EE-4409-8846-AD3780FDA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31B7F0-8291-45AD-B310-18C6F32CA1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2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66FA14-A13E-4C88-AA9E-2E47483D50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Unit of measuremen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98432D-6F74-40F0-A171-A0B5FD017F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941" y="680640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eriod, data scenario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1023FC6-6139-470D-844E-BC0D615613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2569437-C2DB-4F3A-9508-BB720F4BFE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&amp;L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7D807E-C4CE-4AA4-8ED9-448491339E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38CB85-32FF-48FD-9896-C7B7E8F6EDB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80397-EA1F-41BE-8CB8-EE87F91FA06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C539D5CE-18F8-4235-A29E-31342295EE0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6F1E93-15E1-4055-8C44-6E1B52D56A8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25941" y="4704080"/>
            <a:ext cx="5089496" cy="159512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9643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C937022-651A-CB44-9522-9D3927CBABCD}"/>
              </a:ext>
            </a:extLst>
          </p:cNvPr>
          <p:cNvPicPr>
            <a:picLocks/>
          </p:cNvPicPr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5317471" y="2447784"/>
            <a:ext cx="1526003" cy="19437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2138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1DAB2-C884-0C8F-960B-568701F84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bg-B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58ABD0-A906-D8BF-E671-24BB3BE328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bg-BG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AAE99F-9C53-A17D-A476-F3C942D1AF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E137FC-3700-B520-44FC-A30E65DCA9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9CB57-F2B0-44DA-BFA4-3334EFD09CA5}" type="datetimeFigureOut">
              <a:rPr lang="bg-BG" smtClean="0"/>
              <a:t>21.3.2024 г.</a:t>
            </a:fld>
            <a:endParaRPr lang="bg-B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8C9802-2DCB-2D71-CC2F-A9E6278EA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002F0D5-1F6C-F3BB-3467-6C9A9F1E56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FE49C0-FFD0-4002-B46F-1804ACE07602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838334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02D47A-5818-1BD9-FF1B-8799E1498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bg-BG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FD7A2AF-2118-918B-7B8D-BCCB47CA39B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bg-BG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1E26D6-03F3-887F-417A-49D10731E9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9118FB-E063-8B38-59E2-65413F5FD4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9CB57-F2B0-44DA-BFA4-3334EFD09CA5}" type="datetimeFigureOut">
              <a:rPr lang="bg-BG" smtClean="0"/>
              <a:t>21.3.2024 г.</a:t>
            </a:fld>
            <a:endParaRPr lang="bg-B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2E994E-9AAD-83DD-831D-71B888068E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68C86D-6F93-98B0-3ECF-032180D5C6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FE49C0-FFD0-4002-B46F-1804ACE07602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854294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32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63" Type="http://schemas.openxmlformats.org/officeDocument/2006/relationships/slideLayout" Target="../slideLayouts/slideLayout74.xml"/><Relationship Id="rId68" Type="http://schemas.openxmlformats.org/officeDocument/2006/relationships/oleObject" Target="../embeddings/oleObject1.bin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61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image" Target="../media/image1.emf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tags" Target="../tags/tag2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45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D80607A-DCDE-59EC-2F33-7FCDF98D6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bg-B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F924F7-FAC8-6373-2503-F9BFBE7F3B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bg-B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D8780-8175-EA9F-9C43-5235EDA66A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349CB57-F2B0-44DA-BFA4-3334EFD09CA5}" type="datetimeFigureOut">
              <a:rPr lang="bg-BG" smtClean="0"/>
              <a:t>21.3.2024 г.</a:t>
            </a:fld>
            <a:endParaRPr lang="bg-B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A0B788-D25B-FBC7-AA63-ECF2264820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bg-B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92370A-7FAF-49A7-5389-E5B1657B9A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1FE49C0-FFD0-4002-B46F-1804ACE07602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756811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bg-B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6"/>
            </p:custDataLst>
            <p:extLst>
              <p:ext uri="{D42A27DB-BD31-4B8C-83A1-F6EECF244321}">
                <p14:modId xmlns:p14="http://schemas.microsoft.com/office/powerpoint/2010/main" val="1948553763"/>
              </p:ext>
            </p:ext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8" imgW="270" imgH="270" progId="TCLayout.ActiveDocument.1">
                  <p:embed/>
                </p:oleObj>
              </mc:Choice>
              <mc:Fallback>
                <p:oleObj name="think-cell Slide" r:id="rId6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7A5D2E64-2649-4557-8200-E78DF2A57EFC}"/>
              </a:ext>
            </a:extLst>
          </p:cNvPr>
          <p:cNvPicPr>
            <a:picLocks noChangeAspect="1"/>
          </p:cNvPicPr>
          <p:nvPr userDrawn="1"/>
        </p:nvPicPr>
        <p:blipFill>
          <a:blip r:embed="rId7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09729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BA08C5-5A5A-413C-BB47-80E1FBC063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3102" y="6512606"/>
            <a:ext cx="958356" cy="1439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33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97425" y="6512606"/>
            <a:ext cx="5213535" cy="1439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33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827" y="6485813"/>
            <a:ext cx="266631" cy="2002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098" y="1615017"/>
            <a:ext cx="10843687" cy="4646400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94B2A6A-BE43-1D4A-8330-3072C7FC58B6}"/>
              </a:ext>
            </a:extLst>
          </p:cNvPr>
          <p:cNvSpPr txBox="1">
            <a:spLocks/>
          </p:cNvSpPr>
          <p:nvPr userDrawn="1"/>
        </p:nvSpPr>
        <p:spPr>
          <a:xfrm>
            <a:off x="10512491" y="6292801"/>
            <a:ext cx="1426255" cy="36706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33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6" name="Title Placeholder 5">
            <a:extLst>
              <a:ext uri="{FF2B5EF4-FFF2-40B4-BE49-F238E27FC236}">
                <a16:creationId xmlns:a16="http://schemas.microsoft.com/office/drawing/2014/main" id="{A0613193-D73A-5A4B-9E3D-2F277B4E0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984" y="501652"/>
            <a:ext cx="10033000" cy="9588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11333B-FBA5-4875-A5DE-3B4281D761D5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1375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</p:sldLayoutIdLst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219139" rtl="0" eaLnBrk="1" latinLnBrk="0" hangingPunct="1">
        <a:lnSpc>
          <a:spcPct val="100000"/>
        </a:lnSpc>
        <a:spcBef>
          <a:spcPct val="0"/>
        </a:spcBef>
        <a:buNone/>
        <a:defRPr lang="en-US" sz="3200" kern="1200" smtClean="0">
          <a:solidFill>
            <a:srgbClr val="00629F"/>
          </a:solidFill>
          <a:latin typeface="+mj-lt"/>
          <a:ea typeface="+mj-ea"/>
          <a:cs typeface="+mj-cs"/>
        </a:defRPr>
      </a:lvl1pPr>
    </p:titleStyle>
    <p:bodyStyle>
      <a:lvl1pPr marL="191995" indent="-191995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867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426709" indent="-182875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6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573010" indent="-143930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US" sz="14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792460" indent="-182875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333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935543" indent="-143930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IN" sz="1333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>
          <p15:clr>
            <a:srgbClr val="A4A3A4"/>
          </p15:clr>
        </p15:guide>
        <p15:guide id="2" pos="5441">
          <p15:clr>
            <a:srgbClr val="A4A3A4"/>
          </p15:clr>
        </p15:guide>
        <p15:guide id="4" orient="horz" pos="237">
          <p15:clr>
            <a:srgbClr val="A4A3A4"/>
          </p15:clr>
        </p15:guide>
        <p15:guide id="5" orient="horz" pos="690">
          <p15:clr>
            <a:srgbClr val="A4A3A4"/>
          </p15:clr>
        </p15:guide>
        <p15:guide id="6" orient="horz" pos="763">
          <p15:clr>
            <a:srgbClr val="A4A3A4"/>
          </p15:clr>
        </p15:guide>
        <p15:guide id="7" orient="horz" pos="2958">
          <p15:clr>
            <a:srgbClr val="A4A3A4"/>
          </p15:clr>
        </p15:guide>
        <p15:guide id="12" pos="2911">
          <p15:clr>
            <a:srgbClr val="A4A3A4"/>
          </p15:clr>
        </p15:guide>
        <p15:guide id="14" pos="284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oleObject" Target="../embeddings/oleObject44.bin"/><Relationship Id="rId7" Type="http://schemas.openxmlformats.org/officeDocument/2006/relationships/image" Target="../media/image17.em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9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10" Type="http://schemas.openxmlformats.org/officeDocument/2006/relationships/image" Target="../media/image20.svg"/><Relationship Id="rId4" Type="http://schemas.openxmlformats.org/officeDocument/2006/relationships/image" Target="../media/image14.emf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49D2BC-AC4E-4845-9C7A-DC106F43A4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49D2BC-AC4E-4845-9C7A-DC106F43A449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F74D3F-FA9D-1545-9223-A66D9DF91A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1" y="501652"/>
            <a:ext cx="10030884" cy="958849"/>
          </a:xfrm>
        </p:spPr>
        <p:txBody>
          <a:bodyPr vert="horz"/>
          <a:lstStyle/>
          <a:p>
            <a:r>
              <a:rPr lang="en-US" dirty="0" err="1">
                <a:solidFill>
                  <a:schemeClr val="accent1"/>
                </a:solidFill>
                <a:latin typeface="+mn-lt"/>
              </a:rPr>
              <a:t>MaxDiff</a:t>
            </a:r>
            <a:r>
              <a:rPr lang="en-US" dirty="0">
                <a:solidFill>
                  <a:schemeClr val="accent1"/>
                </a:solidFill>
                <a:latin typeface="+mn-lt"/>
              </a:rPr>
              <a:t> tab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453516-47E5-2E47-B693-539F7BE158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242827" y="6485813"/>
            <a:ext cx="266631" cy="200267"/>
          </a:xfrm>
        </p:spPr>
        <p:txBody>
          <a:bodyPr/>
          <a:lstStyle/>
          <a:p>
            <a:pPr defTabSz="1219170"/>
            <a:fld id="{A5163908-529D-4A49-892F-D37C4044DFD8}" type="slidenum">
              <a:rPr lang="en-IN">
                <a:solidFill>
                  <a:srgbClr val="000000"/>
                </a:solidFill>
                <a:latin typeface="Calibri"/>
              </a:rPr>
              <a:pPr defTabSz="1219170"/>
              <a:t>1</a:t>
            </a:fld>
            <a:endParaRPr lang="en-IN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2" name="Rectangle 181" hidden="1">
            <a:extLst>
              <a:ext uri="{FF2B5EF4-FFF2-40B4-BE49-F238E27FC236}">
                <a16:creationId xmlns:a16="http://schemas.microsoft.com/office/drawing/2014/main" id="{FA4C0913-9D63-4579-9B7F-59CA313F83A9}"/>
              </a:ext>
            </a:extLst>
          </p:cNvPr>
          <p:cNvSpPr/>
          <p:nvPr/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219170"/>
            <a:endParaRPr lang="en-US" sz="1333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0" name="Footer Placeholder 7">
            <a:extLst>
              <a:ext uri="{FF2B5EF4-FFF2-40B4-BE49-F238E27FC236}">
                <a16:creationId xmlns:a16="http://schemas.microsoft.com/office/drawing/2014/main" id="{D1CA3B86-672F-AE4C-EA6E-53B33F3CFD6B}"/>
              </a:ext>
            </a:extLst>
          </p:cNvPr>
          <p:cNvSpPr txBox="1">
            <a:spLocks/>
          </p:cNvSpPr>
          <p:nvPr/>
        </p:nvSpPr>
        <p:spPr>
          <a:xfrm>
            <a:off x="654571" y="6527088"/>
            <a:ext cx="9857919" cy="4868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800" b="1" kern="1200" cap="all" baseline="0" dirty="0" smtClean="0">
                <a:solidFill>
                  <a:srgbClr val="404142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Tx/>
              <a:buNone/>
              <a:defRPr sz="2000" b="1" kern="1200">
                <a:solidFill>
                  <a:srgbClr val="40414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90000"/>
              <a:buFontTx/>
              <a:buNone/>
              <a:defRPr sz="1800" b="1" kern="1200">
                <a:solidFill>
                  <a:srgbClr val="40414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b="1" kern="1200">
                <a:solidFill>
                  <a:srgbClr val="404142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b="1" kern="1200" cap="all" baseline="0">
                <a:solidFill>
                  <a:srgbClr val="404142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lnSpc>
                <a:spcPct val="100000"/>
              </a:lnSpc>
              <a:defRPr/>
            </a:pP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Your Footnotes here: Lorem ipsum dolor sit </a:t>
            </a:r>
            <a:r>
              <a:rPr lang="en-US" sz="800" b="0" cap="none" dirty="0" err="1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amet</a:t>
            </a: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, </a:t>
            </a:r>
            <a:r>
              <a:rPr lang="en-US" sz="800" b="0" cap="none" dirty="0" err="1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consectetuer</a:t>
            </a: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 </a:t>
            </a:r>
            <a:r>
              <a:rPr lang="en-US" sz="800" b="0" cap="none" dirty="0" err="1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adipiscing</a:t>
            </a: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 </a:t>
            </a:r>
            <a:r>
              <a:rPr lang="en-US" sz="800" b="0" cap="none" dirty="0" err="1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elit</a:t>
            </a: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. Maecenas </a:t>
            </a:r>
            <a:r>
              <a:rPr lang="en-US" sz="800" b="0" cap="none" dirty="0" err="1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porttitor</a:t>
            </a: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 </a:t>
            </a:r>
            <a:r>
              <a:rPr lang="en-US" sz="800" b="0" cap="none" dirty="0" err="1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congue</a:t>
            </a: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 </a:t>
            </a:r>
            <a:r>
              <a:rPr lang="en-US" sz="800" b="0" cap="none" dirty="0" err="1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massa</a:t>
            </a: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. </a:t>
            </a:r>
            <a:r>
              <a:rPr lang="en-US" sz="800" b="0" cap="none" dirty="0" err="1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Fusce</a:t>
            </a: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 </a:t>
            </a:r>
            <a:r>
              <a:rPr lang="en-US" sz="800" b="0" cap="none" dirty="0" err="1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posuere</a:t>
            </a: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, magna sed pulvinar </a:t>
            </a:r>
            <a:r>
              <a:rPr lang="en-US" sz="800" b="0" cap="none" dirty="0" err="1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ultricies</a:t>
            </a: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, </a:t>
            </a:r>
            <a:r>
              <a:rPr lang="en-US" sz="800" b="0" cap="none" dirty="0" err="1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purus</a:t>
            </a: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 </a:t>
            </a:r>
            <a:r>
              <a:rPr lang="en-US" sz="800" b="0" cap="none" dirty="0" err="1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lectus</a:t>
            </a: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 </a:t>
            </a:r>
            <a:r>
              <a:rPr lang="en-US" sz="800" b="0" cap="none" dirty="0" err="1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malesuada</a:t>
            </a: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 libero, sit </a:t>
            </a:r>
            <a:r>
              <a:rPr lang="en-US" sz="800" b="0" cap="none" dirty="0" err="1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amet</a:t>
            </a: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 </a:t>
            </a:r>
            <a:r>
              <a:rPr lang="en-US" sz="800" b="0" cap="none" dirty="0" err="1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commodo</a:t>
            </a: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 magna eros </a:t>
            </a:r>
            <a:r>
              <a:rPr lang="en-US" sz="800" b="0" cap="none" dirty="0" err="1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quis</a:t>
            </a: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 </a:t>
            </a:r>
            <a:r>
              <a:rPr lang="en-US" sz="800" b="0" cap="none" dirty="0" err="1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urna</a:t>
            </a:r>
            <a:r>
              <a:rPr lang="en-US" sz="800" b="0" cap="none" dirty="0">
                <a:solidFill>
                  <a:srgbClr val="FFFFFF">
                    <a:lumMod val="65000"/>
                  </a:srgbClr>
                </a:solidFill>
                <a:latin typeface="Calibri"/>
                <a:cs typeface="Segoe UI Semilight" panose="020B0402040204020203" pitchFamily="34" charset="0"/>
              </a:rPr>
              <a:t>.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EDFCB35-E8BD-974F-2A19-441345BC79C5}"/>
              </a:ext>
            </a:extLst>
          </p:cNvPr>
          <p:cNvSpPr/>
          <p:nvPr/>
        </p:nvSpPr>
        <p:spPr>
          <a:xfrm>
            <a:off x="0" y="1"/>
            <a:ext cx="959993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defRPr/>
            </a:pPr>
            <a:r>
              <a:rPr lang="en-US" sz="800" i="1" dirty="0">
                <a:solidFill>
                  <a:srgbClr val="D10077"/>
                </a:solidFill>
                <a:latin typeface="Calibri"/>
                <a:cs typeface="Calibri" panose="020F0502020204030204" pitchFamily="34" charset="0"/>
              </a:rPr>
              <a:t>REMOVE TAG BEFORE SENDING TO CLIENT! 13014, </a:t>
            </a:r>
            <a:r>
              <a:rPr lang="en-US" sz="800" i="1" dirty="0" err="1">
                <a:solidFill>
                  <a:srgbClr val="D10077"/>
                </a:solidFill>
                <a:latin typeface="Calibri"/>
                <a:cs typeface="Calibri" panose="020F0502020204030204" pitchFamily="34" charset="0"/>
              </a:rPr>
              <a:t>MaxDiff</a:t>
            </a:r>
            <a:r>
              <a:rPr lang="en-US" sz="800" i="1" dirty="0">
                <a:solidFill>
                  <a:srgbClr val="D10077"/>
                </a:solidFill>
                <a:latin typeface="Calibri"/>
                <a:cs typeface="Calibri" panose="020F0502020204030204" pitchFamily="34" charset="0"/>
              </a:rPr>
              <a:t> table indexed, one wave </a:t>
            </a:r>
          </a:p>
          <a:p>
            <a:pPr defTabSz="914377">
              <a:defRPr/>
            </a:pPr>
            <a:endParaRPr lang="en-US" sz="800" i="1" dirty="0">
              <a:solidFill>
                <a:srgbClr val="D10077"/>
              </a:solidFill>
              <a:latin typeface="Calibri"/>
              <a:cs typeface="Calibri" panose="020F0502020204030204" pitchFamily="34" charset="0"/>
            </a:endParaRPr>
          </a:p>
          <a:p>
            <a:pPr defTabSz="914377">
              <a:defRPr/>
            </a:pPr>
            <a:endParaRPr lang="en-US" sz="800" i="1" dirty="0">
              <a:solidFill>
                <a:srgbClr val="D10077"/>
              </a:solidFill>
              <a:latin typeface="Calibri"/>
              <a:cs typeface="Calibri" panose="020F0502020204030204" pitchFamily="34" charset="0"/>
            </a:endParaRP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600E35EB-941C-6E0C-8AC3-2A0110BBD5EB}"/>
              </a:ext>
            </a:extLst>
          </p:cNvPr>
          <p:cNvSpPr txBox="1">
            <a:spLocks/>
          </p:cNvSpPr>
          <p:nvPr/>
        </p:nvSpPr>
        <p:spPr>
          <a:xfrm>
            <a:off x="673101" y="1070439"/>
            <a:ext cx="10843683" cy="839015"/>
          </a:xfrm>
          <a:prstGeom prst="rect">
            <a:avLst/>
          </a:prstGeom>
        </p:spPr>
        <p:txBody>
          <a:bodyPr vert="horz" lIns="0" tIns="0" rIns="0" bIns="0" numCol="1" spcCol="270000" rtlCol="0">
            <a:noAutofit/>
          </a:bodyPr>
          <a:lstStyle>
            <a:lvl1pPr marL="144000" indent="-1440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32004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2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429768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US" sz="105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594360" indent="-13716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–"/>
              <a:defRPr lang="en-US" sz="10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701675" indent="-10795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•"/>
              <a:defRPr lang="en-IN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1995" indent="-191995" defTabSz="1219139"/>
            <a:r>
              <a:rPr lang="en-GB" sz="1333" dirty="0">
                <a:solidFill>
                  <a:srgbClr val="000000"/>
                </a:solidFill>
                <a:latin typeface="Calibri"/>
              </a:rPr>
              <a:t>Write your insights here up to three lines length</a:t>
            </a:r>
          </a:p>
          <a:p>
            <a:pPr marL="191995" indent="-191995" defTabSz="1219139"/>
            <a:r>
              <a:rPr lang="en-GB" sz="1333" dirty="0">
                <a:solidFill>
                  <a:srgbClr val="000000"/>
                </a:solidFill>
                <a:latin typeface="Calibri"/>
              </a:rPr>
              <a:t>Lorem ipsum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dolor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 sit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amet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,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consectetuer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adipiscing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elit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. Maecenas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porttitor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congue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massa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.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Fusce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posuere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, magna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sed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 pulvinar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ultricies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,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purus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lectus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malesuada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 libero, sit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amet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commodo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 magna eros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quis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 </a:t>
            </a:r>
            <a:r>
              <a:rPr lang="en-GB" sz="1333" dirty="0" err="1">
                <a:solidFill>
                  <a:srgbClr val="000000"/>
                </a:solidFill>
                <a:latin typeface="Calibri"/>
              </a:rPr>
              <a:t>urna</a:t>
            </a:r>
            <a:r>
              <a:rPr lang="en-GB" sz="1333" dirty="0">
                <a:solidFill>
                  <a:srgbClr val="000000"/>
                </a:solidFill>
                <a:latin typeface="Calibri"/>
              </a:rPr>
              <a:t>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9CB92A9-5E74-F6E0-655D-CB72B0A4306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1449" y="1796738"/>
            <a:ext cx="266868" cy="26686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6FF8A06-B1E0-7735-DBA0-921E4AA7E42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2350" y="1796738"/>
            <a:ext cx="266868" cy="26686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DE12620-FC82-D047-EA9B-472DC2EC77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2801" y="1796738"/>
            <a:ext cx="266868" cy="26686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6761581-92AE-EC1C-61A8-E139486E62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1899" y="1796738"/>
            <a:ext cx="266868" cy="26686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4E946C0-BAA4-F4C9-51B7-49EF43D4E4B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3254" y="1796738"/>
            <a:ext cx="266868" cy="266868"/>
          </a:xfrm>
          <a:prstGeom prst="rect">
            <a:avLst/>
          </a:prstGeom>
        </p:spPr>
      </p:pic>
      <p:pic>
        <p:nvPicPr>
          <p:cNvPr id="17" name="Graphic 16" descr="World">
            <a:extLst>
              <a:ext uri="{FF2B5EF4-FFF2-40B4-BE49-F238E27FC236}">
                <a16:creationId xmlns:a16="http://schemas.microsoft.com/office/drawing/2014/main" id="{781BE320-6CB7-0A8B-03E4-178E40A742A4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10481" t="10303" r="10042" b="10771"/>
          <a:stretch/>
        </p:blipFill>
        <p:spPr>
          <a:xfrm>
            <a:off x="4609142" y="1810465"/>
            <a:ext cx="268724" cy="266868"/>
          </a:xfrm>
          <a:prstGeom prst="rect">
            <a:avLst/>
          </a:prstGeom>
        </p:spPr>
      </p:pic>
      <p:graphicFrame>
        <p:nvGraphicFramePr>
          <p:cNvPr id="3" name="Group 337">
            <a:extLst>
              <a:ext uri="{FF2B5EF4-FFF2-40B4-BE49-F238E27FC236}">
                <a16:creationId xmlns:a16="http://schemas.microsoft.com/office/drawing/2014/main" id="{BB3F3726-E3D5-F76F-28FA-CE4F741B9BCF}"/>
              </a:ext>
            </a:extLst>
          </p:cNvPr>
          <p:cNvGraphicFramePr>
            <a:graphicFrameLocks noGrp="1"/>
          </p:cNvGraphicFramePr>
          <p:nvPr/>
        </p:nvGraphicFramePr>
        <p:xfrm>
          <a:off x="670984" y="1642611"/>
          <a:ext cx="10884229" cy="4298928"/>
        </p:xfrm>
        <a:graphic>
          <a:graphicData uri="http://schemas.openxmlformats.org/drawingml/2006/table">
            <a:tbl>
              <a:tblPr/>
              <a:tblGrid>
                <a:gridCol w="34664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63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6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363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36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363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363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526719">
                <a:tc gridSpan="7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60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72" marR="90089" marT="36000" marB="54000" anchor="b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e-DE" sz="1200" b="0" i="0" u="none" strike="noStrike" cap="none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72072" marR="192242" marT="0" marB="68400" anchor="b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200" b="0" i="0" u="none" strike="noStrike" cap="none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72072" marR="192242" marT="0" marB="68400" anchor="b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200" b="0" i="0" u="none" strike="noStrike" cap="none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72072" marR="192242" marT="0" marB="68400" anchor="b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200" b="0" i="0" u="none" strike="noStrike" cap="none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72072" marR="192242" marT="0" marB="68400" anchor="b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200" b="0" i="0" u="none" strike="noStrike" cap="none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72072" marR="192242" marT="0" marB="68400" anchor="b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200" b="0" i="0" u="none" strike="noStrike" cap="none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72072" marR="192242" marT="0" marB="68400" anchor="b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vide me with the necessary vitamins and minerals</a:t>
                      </a: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5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re </a:t>
                      </a:r>
                      <a:r>
                        <a:rPr kumimoji="0" lang="fr-FR" sz="1100" b="1" i="0" u="none" strike="noStrike" kern="1200" cap="none" normalizeH="0" baseline="0" err="1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afe</a:t>
                      </a:r>
                      <a:r>
                        <a:rPr kumimoji="0" lang="fr-FR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o </a:t>
                      </a:r>
                      <a:r>
                        <a:rPr kumimoji="0" lang="fr-FR" sz="1100" b="1" i="0" u="none" strike="noStrike" kern="1200" cap="none" normalizeH="0" baseline="0" err="1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at</a:t>
                      </a:r>
                      <a:endParaRPr kumimoji="0" lang="fr-FR" sz="11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e </a:t>
                      </a:r>
                      <a:r>
                        <a:rPr kumimoji="0" lang="fr-FR" sz="1100" b="1" i="0" u="none" strike="noStrike" kern="1200" cap="none" normalizeH="0" baseline="0" err="1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eat</a:t>
                      </a:r>
                      <a:r>
                        <a:rPr kumimoji="0" lang="fr-FR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aste</a:t>
                      </a: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7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39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27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vide me with fibers for healthy digestion</a:t>
                      </a: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7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48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ssist in creating a well-balanced meal</a:t>
                      </a: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35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27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ll be enjoyed by all the family</a:t>
                      </a: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7115742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re </a:t>
                      </a:r>
                      <a:r>
                        <a:rPr kumimoji="0" lang="fr-FR" sz="1100" b="1" i="0" u="none" strike="noStrike" kern="1200" cap="none" normalizeH="0" baseline="0" err="1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rganic</a:t>
                      </a:r>
                      <a:endParaRPr kumimoji="0" lang="fr-FR" sz="11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7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53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lp me to prevent diseases</a:t>
                      </a: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3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56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2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75185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re attractive (e.g. look fresh, etc.)</a:t>
                      </a: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rown using sustainable farming processes/practices</a:t>
                      </a: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54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279048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an be used as a healthy snack</a:t>
                      </a: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re </a:t>
                      </a:r>
                      <a:r>
                        <a:rPr kumimoji="0" lang="fr-FR" sz="11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ocally</a:t>
                      </a:r>
                      <a:r>
                        <a:rPr kumimoji="0" lang="fr-FR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fr-FR" sz="11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duced</a:t>
                      </a:r>
                      <a:endParaRPr kumimoji="0" lang="fr-FR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10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5699696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1" i="0" u="none" strike="noStrike" kern="1200" cap="none" normalizeH="0" baseline="0" err="1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mprove</a:t>
                      </a:r>
                      <a:r>
                        <a:rPr kumimoji="0" lang="fr-FR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fr-FR" sz="1100" b="1" i="0" u="none" strike="noStrike" kern="1200" cap="none" normalizeH="0" baseline="0" err="1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y</a:t>
                      </a:r>
                      <a:r>
                        <a:rPr kumimoji="0" lang="fr-FR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fr-FR" sz="1100" b="1" i="0" u="none" strike="noStrike" kern="1200" cap="none" normalizeH="0" baseline="0" err="1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nergy</a:t>
                      </a:r>
                      <a:r>
                        <a:rPr kumimoji="0" lang="fr-FR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fr-FR" sz="1100" b="1" i="0" u="none" strike="noStrike" kern="1200" cap="none" normalizeH="0" baseline="0" err="1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evel</a:t>
                      </a:r>
                      <a:endParaRPr kumimoji="0" lang="fr-FR" sz="11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60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7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an be prepared in multiple ways</a:t>
                      </a: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23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6804835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lp me with weight management</a:t>
                      </a: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an be used in a wide variety of dishes</a:t>
                      </a: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9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5560716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asy to prepare</a:t>
                      </a: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ve no packaging/have recyclable packaging</a:t>
                      </a: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34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9D32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0893793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elp me </a:t>
                      </a:r>
                      <a:r>
                        <a:rPr kumimoji="0" lang="fr-FR" sz="1100" b="1" i="0" u="none" strike="noStrike" kern="1200" cap="none" normalizeH="0" baseline="0" err="1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ith</a:t>
                      </a:r>
                      <a:r>
                        <a:rPr kumimoji="0" lang="fr-FR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fr-FR" sz="1100" b="1" i="0" u="none" strike="noStrike" kern="1200" cap="none" normalizeH="0" baseline="0" err="1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kincare</a:t>
                      </a:r>
                      <a:endParaRPr kumimoji="0" lang="fr-FR" sz="11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47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4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4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an be consumed on the go</a:t>
                      </a: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58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9851526"/>
                  </a:ext>
                </a:extLst>
              </a:tr>
              <a:tr h="179629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an be used in drinks</a:t>
                      </a:r>
                    </a:p>
                  </a:txBody>
                  <a:tcPr marL="7620" marR="7620" marT="762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%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49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6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7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18C6BF6-0264-5AAD-3A69-3430C83AE6A8}"/>
              </a:ext>
            </a:extLst>
          </p:cNvPr>
          <p:cNvSpPr txBox="1"/>
          <p:nvPr/>
        </p:nvSpPr>
        <p:spPr>
          <a:xfrm>
            <a:off x="692732" y="1833017"/>
            <a:ext cx="3544241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377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1333" b="1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uble-indexing used for market-level scores</a:t>
            </a:r>
            <a:endParaRPr lang="de-DE" sz="1333" b="1" dirty="0">
              <a:solidFill>
                <a:srgbClr val="000000">
                  <a:lumMod val="85000"/>
                  <a:lumOff val="15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19C532D-79ED-5CAE-CC2C-AE46C698D367}"/>
              </a:ext>
            </a:extLst>
          </p:cNvPr>
          <p:cNvSpPr/>
          <p:nvPr/>
        </p:nvSpPr>
        <p:spPr bwMode="gray">
          <a:xfrm>
            <a:off x="4757058" y="6110879"/>
            <a:ext cx="4201887" cy="15800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25000">
                <a:schemeClr val="tx2">
                  <a:lumMod val="40000"/>
                  <a:lumOff val="60000"/>
                </a:schemeClr>
              </a:gs>
              <a:gs pos="75000">
                <a:schemeClr val="accent4">
                  <a:lumMod val="60000"/>
                  <a:lumOff val="40000"/>
                </a:schemeClr>
              </a:gs>
              <a:gs pos="50000">
                <a:schemeClr val="bg1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bg-BG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524BCA2-F1B1-D97A-50E0-C8EED381B671}"/>
              </a:ext>
            </a:extLst>
          </p:cNvPr>
          <p:cNvSpPr txBox="1">
            <a:spLocks/>
          </p:cNvSpPr>
          <p:nvPr/>
        </p:nvSpPr>
        <p:spPr bwMode="gray">
          <a:xfrm>
            <a:off x="3719059" y="6059863"/>
            <a:ext cx="1800000" cy="25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r>
              <a:rPr lang="en-US" sz="1051" dirty="0">
                <a:solidFill>
                  <a:srgbClr val="10384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ast important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8D8B2FE-91C5-B84E-D392-AE39EA0F453F}"/>
              </a:ext>
            </a:extLst>
          </p:cNvPr>
          <p:cNvSpPr txBox="1">
            <a:spLocks/>
          </p:cNvSpPr>
          <p:nvPr/>
        </p:nvSpPr>
        <p:spPr bwMode="gray">
          <a:xfrm>
            <a:off x="8998657" y="6059863"/>
            <a:ext cx="1800000" cy="25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r>
              <a:rPr lang="en-US" sz="1051">
                <a:solidFill>
                  <a:srgbClr val="10384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st important</a:t>
            </a:r>
          </a:p>
        </p:txBody>
      </p:sp>
    </p:spTree>
    <p:extLst>
      <p:ext uri="{BB962C8B-B14F-4D97-AF65-F5344CB8AC3E}">
        <p14:creationId xmlns:p14="http://schemas.microsoft.com/office/powerpoint/2010/main" val="1558729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.LJhckSGCxmH17d0fWV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3EePDZRDCiGs6qA7F.i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batYagSyKSJhzbVoC0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4VFSuEQQups0ulDuF19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0pDCr0Q2Wp2L0wENceh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c97NhnRtGIQipb0wENx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q1yE6hRTGv_ga4GbII8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Presentation template Jan21">
  <a:themeElements>
    <a:clrScheme name="Custom 8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7CC"/>
      </a:accent1>
      <a:accent2>
        <a:srgbClr val="269A91"/>
      </a:accent2>
      <a:accent3>
        <a:srgbClr val="16973A"/>
      </a:accent3>
      <a:accent4>
        <a:srgbClr val="DE7C00"/>
      </a:accent4>
      <a:accent5>
        <a:srgbClr val="D10077"/>
      </a:accent5>
      <a:accent6>
        <a:srgbClr val="8345BA"/>
      </a:accent6>
      <a:hlink>
        <a:srgbClr val="00619F"/>
      </a:hlink>
      <a:folHlink>
        <a:srgbClr val="00629F"/>
      </a:folHlink>
    </a:clrScheme>
    <a:fontScheme name="Custom 12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presentation_template_16x9_nov18_1112.pptx" id="{BEC723CF-679C-4F78-8FDC-5F75600573FC}" vid="{82C35204-7926-405E-85BB-7292904EC9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9</Words>
  <Application>Microsoft Office PowerPoint</Application>
  <PresentationFormat>Widescreen</PresentationFormat>
  <Paragraphs>15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ptos</vt:lpstr>
      <vt:lpstr>Aptos Display</vt:lpstr>
      <vt:lpstr>Arial</vt:lpstr>
      <vt:lpstr>Calibri</vt:lpstr>
      <vt:lpstr>Calibri Light</vt:lpstr>
      <vt:lpstr>OpenSans</vt:lpstr>
      <vt:lpstr>Wingdings</vt:lpstr>
      <vt:lpstr>Office Theme</vt:lpstr>
      <vt:lpstr>Presentation template Jan21</vt:lpstr>
      <vt:lpstr>think-cell Slide</vt:lpstr>
      <vt:lpstr>MaxDiff tab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xDiff table</dc:title>
  <dc:creator>Mario Ivanov</dc:creator>
  <cp:lastModifiedBy>Mario Ivanov</cp:lastModifiedBy>
  <cp:revision>1</cp:revision>
  <dcterms:created xsi:type="dcterms:W3CDTF">2024-03-21T14:27:34Z</dcterms:created>
  <dcterms:modified xsi:type="dcterms:W3CDTF">2024-03-21T14:27:34Z</dcterms:modified>
</cp:coreProperties>
</file>